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08" r:id="rId1"/>
    <p:sldMasterId id="2147483843" r:id="rId2"/>
    <p:sldMasterId id="2147483868" r:id="rId3"/>
    <p:sldMasterId id="2147483898" r:id="rId4"/>
  </p:sldMasterIdLst>
  <p:notesMasterIdLst>
    <p:notesMasterId r:id="rId6"/>
  </p:notesMasterIdLst>
  <p:handoutMasterIdLst>
    <p:handoutMasterId r:id="rId7"/>
  </p:handoutMasterIdLst>
  <p:sldIdLst>
    <p:sldId id="982" r:id="rId5"/>
  </p:sldIdLst>
  <p:sldSz cx="10693400" cy="7561263"/>
  <p:notesSz cx="6805613" cy="9944100"/>
  <p:kinsoku lang="zh-CN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63">
          <p15:clr>
            <a:srgbClr val="A4A3A4"/>
          </p15:clr>
        </p15:guide>
        <p15:guide id="2" orient="horz" pos="1792">
          <p15:clr>
            <a:srgbClr val="A4A3A4"/>
          </p15:clr>
        </p15:guide>
        <p15:guide id="3" pos="3368">
          <p15:clr>
            <a:srgbClr val="A4A3A4"/>
          </p15:clr>
        </p15:guide>
        <p15:guide id="4" orient="horz" pos="1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6600"/>
    <a:srgbClr val="BB7759"/>
    <a:srgbClr val="003366"/>
    <a:srgbClr val="A8C745"/>
    <a:srgbClr val="9EBE38"/>
    <a:srgbClr val="990000"/>
    <a:srgbClr val="FF990B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099" autoAdjust="0"/>
    <p:restoredTop sz="94625" autoAdjust="0"/>
  </p:normalViewPr>
  <p:slideViewPr>
    <p:cSldViewPr snapToGrid="0">
      <p:cViewPr varScale="1">
        <p:scale>
          <a:sx n="100" d="100"/>
          <a:sy n="100" d="100"/>
        </p:scale>
        <p:origin x="1572" y="96"/>
      </p:cViewPr>
      <p:guideLst>
        <p:guide orient="horz" pos="2563"/>
        <p:guide orient="horz" pos="1792"/>
        <p:guide pos="3368"/>
        <p:guide orient="horz" pos="1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2688"/>
    </p:cViewPr>
  </p:sorterViewPr>
  <p:notesViewPr>
    <p:cSldViewPr snapToGrid="0">
      <p:cViewPr varScale="1">
        <p:scale>
          <a:sx n="76" d="100"/>
          <a:sy n="76" d="100"/>
        </p:scale>
        <p:origin x="-2160" y="-108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1C239B82-A2F5-4DC9-A5AB-91C2A636AD1D}" type="slidenum">
              <a:rPr lang="fr-FR" altLang="zh-CN" sz="1200" b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fr-FR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1766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2648" y="4726077"/>
            <a:ext cx="4980317" cy="419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1485" tIns="39797" rIns="81485" bIns="397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zh-CN" noProof="0"/>
              <a:t>Cliquez pour modifier le style de texte du masque</a:t>
            </a:r>
          </a:p>
          <a:p>
            <a:pPr lvl="1"/>
            <a:r>
              <a:rPr lang="fr-FR" altLang="zh-CN" noProof="0"/>
              <a:t>Second niveau</a:t>
            </a:r>
          </a:p>
          <a:p>
            <a:pPr lvl="2"/>
            <a:r>
              <a:rPr lang="fr-FR" altLang="zh-CN" noProof="0"/>
              <a:t>Troisième niveau</a:t>
            </a:r>
          </a:p>
          <a:p>
            <a:pPr lvl="3"/>
            <a:r>
              <a:rPr lang="fr-FR" altLang="zh-CN" noProof="0"/>
              <a:t>Quatrième niveau</a:t>
            </a:r>
          </a:p>
          <a:p>
            <a:pPr lvl="4"/>
            <a:r>
              <a:rPr lang="fr-FR" altLang="zh-CN" noProof="0"/>
              <a:t>Cinquième niveau</a:t>
            </a:r>
          </a:p>
        </p:txBody>
      </p:sp>
      <p:sp>
        <p:nvSpPr>
          <p:cNvPr id="3075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27050" y="576263"/>
            <a:ext cx="5753100" cy="406876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E6FB88F8-BE06-4309-B3DC-39FA6B457582}" type="slidenum">
              <a:rPr lang="fr-FR" altLang="zh-CN" sz="1200" b="0" smtClean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fr-FR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53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1pPr>
    <a:lvl2pPr marL="33813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2pPr>
    <a:lvl3pPr marL="6746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3pPr>
    <a:lvl4pPr marL="1012825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4pPr>
    <a:lvl5pPr marL="13477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1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3.xml"/><Relationship Id="rId7" Type="http://schemas.openxmlformats.org/officeDocument/2006/relationships/image" Target="../media/image6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oleObject" Target="../embeddings/oleObject6.bin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10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697670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rgbClr val="E64B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" hidden="1">
            <a:extLst>
              <a:ext uri="{FF2B5EF4-FFF2-40B4-BE49-F238E27FC236}">
                <a16:creationId xmlns:a16="http://schemas.microsoft.com/office/drawing/2014/main" id="{0A3088A7-1E6D-497A-AA79-4BAC7996D4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2" hidden="1">
                        <a:extLst>
                          <a:ext uri="{FF2B5EF4-FFF2-40B4-BE49-F238E27FC236}">
                            <a16:creationId xmlns:a16="http://schemas.microsoft.com/office/drawing/2014/main" id="{0A3088A7-1E6D-497A-AA79-4BAC7996D45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66" descr="shadow-v2.png">
            <a:extLst>
              <a:ext uri="{FF2B5EF4-FFF2-40B4-BE49-F238E27FC236}">
                <a16:creationId xmlns:a16="http://schemas.microsoft.com/office/drawing/2014/main" id="{F63808CD-C883-44A7-AE6F-3CEB1175179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1" y="7036176"/>
            <a:ext cx="10357375" cy="22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7">
            <a:extLst>
              <a:ext uri="{FF2B5EF4-FFF2-40B4-BE49-F238E27FC236}">
                <a16:creationId xmlns:a16="http://schemas.microsoft.com/office/drawing/2014/main" id="{3E46F68B-69D4-4B47-99E0-D84BCC7A78E6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9094960" y="7195453"/>
            <a:ext cx="1009932" cy="260793"/>
            <a:chOff x="1005" y="1644"/>
            <a:chExt cx="3749" cy="1030"/>
          </a:xfrm>
          <a:solidFill>
            <a:schemeClr val="bg1"/>
          </a:solidFill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76AEB3CA-C3D0-428F-B5E5-9706007EA7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10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52E9DF8B-BFF6-49EC-A86B-37B43BD4B2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10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8C9EA9E-446D-4D86-A623-44C1E3E09D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103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757449" y="848893"/>
            <a:ext cx="9341873" cy="1717036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41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761163" y="2565929"/>
            <a:ext cx="6271234" cy="191657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52742173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57449" y="661139"/>
            <a:ext cx="9423559" cy="678676"/>
          </a:xfrm>
        </p:spPr>
        <p:txBody>
          <a:bodyPr/>
          <a:lstStyle>
            <a:lvl1pPr>
              <a:defRPr sz="441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57450" y="2377204"/>
            <a:ext cx="7494662" cy="169669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205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768589" y="7223059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92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693400" cy="7561263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45053140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57449" y="661139"/>
            <a:ext cx="9423559" cy="678676"/>
          </a:xfrm>
        </p:spPr>
        <p:txBody>
          <a:bodyPr/>
          <a:lstStyle>
            <a:lvl1pPr>
              <a:defRPr sz="441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57450" y="2377204"/>
            <a:ext cx="7494662" cy="169669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205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693400" cy="7561263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768589" y="7223059"/>
            <a:ext cx="1043555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92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5728929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34383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859" y="1753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9" y="1753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693400" cy="7561263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757449" y="2764944"/>
            <a:ext cx="9347443" cy="1357351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41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757449" y="4251715"/>
            <a:ext cx="9347443" cy="339338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205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620353" y="6980578"/>
            <a:ext cx="2703634" cy="546091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8209771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 txBox="1">
            <a:spLocks/>
          </p:cNvSpPr>
          <p:nvPr userDrawn="1"/>
        </p:nvSpPr>
        <p:spPr>
          <a:xfrm>
            <a:off x="768589" y="7223062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92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57449" y="661139"/>
            <a:ext cx="9423559" cy="678676"/>
          </a:xfrm>
        </p:spPr>
        <p:txBody>
          <a:bodyPr/>
          <a:lstStyle>
            <a:lvl1pPr>
              <a:defRPr sz="441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757450" y="2377204"/>
            <a:ext cx="7494662" cy="9510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205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440000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 txBox="1">
            <a:spLocks/>
          </p:cNvSpPr>
          <p:nvPr/>
        </p:nvSpPr>
        <p:spPr>
          <a:xfrm>
            <a:off x="1611436" y="7135547"/>
            <a:ext cx="130965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5 March 2021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757449" y="7135547"/>
            <a:ext cx="492122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12A34401-8199-4818-BD09-7935527FCC48}" type="slidenum">
              <a:rPr lang="en-GB" sz="992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6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9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10" name="Straight Connector 9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5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56049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757449" y="2764944"/>
            <a:ext cx="9347443" cy="67864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41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757449" y="4251715"/>
            <a:ext cx="9347443" cy="33933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20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71522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7800" y="369133"/>
            <a:ext cx="9346200" cy="509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noProof="1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48811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CDBACF1-0281-4D00-A96C-E12864F141E5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0693400" cy="7561263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5" name="Rectangle 11">
              <a:extLst>
                <a:ext uri="{FF2B5EF4-FFF2-40B4-BE49-F238E27FC236}">
                  <a16:creationId xmlns:a16="http://schemas.microsoft.com/office/drawing/2014/main" id="{8A0F8AE3-5A0D-4C0F-89D4-A780F6E045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10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" name="Rectangle 12">
              <a:extLst>
                <a:ext uri="{FF2B5EF4-FFF2-40B4-BE49-F238E27FC236}">
                  <a16:creationId xmlns:a16="http://schemas.microsoft.com/office/drawing/2014/main" id="{CF357387-D36E-4476-B0F7-0599BB819A5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103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5F6F2F29-DBA8-4690-8F38-025D32767D5D}"/>
              </a:ext>
            </a:extLst>
          </p:cNvPr>
          <p:cNvSpPr>
            <a:spLocks/>
          </p:cNvSpPr>
          <p:nvPr userDrawn="1"/>
        </p:nvSpPr>
        <p:spPr bwMode="gray">
          <a:xfrm>
            <a:off x="761163" y="7042988"/>
            <a:ext cx="3978653" cy="271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Pct val="100000"/>
              <a:defRPr/>
            </a:pPr>
            <a:r>
              <a:rPr lang="de-CH" altLang="fr-FR" sz="882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de-CH" altLang="fr-FR" sz="882">
                <a:solidFill>
                  <a:srgbClr val="FFFFFF"/>
                </a:solidFill>
              </a:rPr>
            </a:br>
            <a:r>
              <a:rPr lang="de-CH" altLang="fr-FR" sz="882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8" name="Picture 19" descr="Sidel_BM_no_bleed">
            <a:extLst>
              <a:ext uri="{FF2B5EF4-FFF2-40B4-BE49-F238E27FC236}">
                <a16:creationId xmlns:a16="http://schemas.microsoft.com/office/drawing/2014/main" id="{1E2A8744-36CF-4736-A285-D108B9A779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4459" y="6595102"/>
            <a:ext cx="1295832" cy="978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21" hidden="1">
            <a:extLst>
              <a:ext uri="{FF2B5EF4-FFF2-40B4-BE49-F238E27FC236}">
                <a16:creationId xmlns:a16="http://schemas.microsoft.com/office/drawing/2014/main" id="{B3997B87-1A49-4E07-8252-C5F6DBEC6D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9" name="Object 21" hidden="1">
                        <a:extLst>
                          <a:ext uri="{FF2B5EF4-FFF2-40B4-BE49-F238E27FC236}">
                            <a16:creationId xmlns:a16="http://schemas.microsoft.com/office/drawing/2014/main" id="{B3997B87-1A49-4E07-8252-C5F6DBEC6DF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757449" y="848893"/>
            <a:ext cx="9341873" cy="1717036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41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761163" y="2565929"/>
            <a:ext cx="6271234" cy="191657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9935300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9546342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57450" y="1638274"/>
            <a:ext cx="9353012" cy="5250877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63483581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800" y="369133"/>
            <a:ext cx="9346200" cy="103198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757801" y="1130690"/>
            <a:ext cx="9353012" cy="339338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072010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Relationship Id="rId9" Type="http://schemas.openxmlformats.org/officeDocument/2006/relationships/image" Target="../media/image3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4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vmlDrawing" Target="../drawings/vmlDrawing3.vml"/><Relationship Id="rId5" Type="http://schemas.openxmlformats.org/officeDocument/2006/relationships/theme" Target="../theme/theme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5.xml"/><Relationship Id="rId9" Type="http://schemas.openxmlformats.org/officeDocument/2006/relationships/oleObject" Target="../embeddings/oleObject3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7.v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3.xml"/><Relationship Id="rId11" Type="http://schemas.openxmlformats.org/officeDocument/2006/relationships/image" Target="../media/image8.jpeg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9.xml"/><Relationship Id="rId9" Type="http://schemas.openxmlformats.org/officeDocument/2006/relationships/oleObject" Target="../embeddings/oleObject8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3" Type="http://schemas.openxmlformats.org/officeDocument/2006/relationships/slideLayout" Target="../slideLayouts/slideLayout13.xml"/><Relationship Id="rId7" Type="http://schemas.openxmlformats.org/officeDocument/2006/relationships/tags" Target="../tags/tag14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vmlDrawing" Target="../drawings/vmlDrawing10.vml"/><Relationship Id="rId11" Type="http://schemas.openxmlformats.org/officeDocument/2006/relationships/image" Target="../media/image2.png"/><Relationship Id="rId5" Type="http://schemas.openxmlformats.org/officeDocument/2006/relationships/theme" Target="../theme/theme4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9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57449" y="369133"/>
            <a:ext cx="9349299" cy="50900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57450" y="1638275"/>
            <a:ext cx="9347443" cy="496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757449" y="7135385"/>
            <a:ext cx="492122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92" b="1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ge </a:t>
            </a:r>
            <a:fld id="{7873E190-40CF-412D-9604-1EFCEB1508B2}" type="slidenum">
              <a:rPr kumimoji="0" lang="en-GB" sz="992" b="1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92" b="1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3766" y="7148446"/>
            <a:ext cx="1097117" cy="283296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612017" y="7135385"/>
            <a:ext cx="6442688" cy="15267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1008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92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tle, </a:t>
            </a:r>
            <a:fld id="{AF6A7A01-F0BB-4441-BAB9-3E7CB064C4A1}" type="datetime4">
              <a:rPr kumimoji="0" lang="en-GB" sz="992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1008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 March 2021</a:t>
            </a:fld>
            <a:r>
              <a:rPr kumimoji="0" lang="en-GB" sz="992" b="0" i="0" u="none" strike="noStrike" kern="1200" cap="none" spc="0" normalizeH="0" baseline="0" noProof="0" dirty="0">
                <a:ln>
                  <a:noFill/>
                </a:ln>
                <a:solidFill>
                  <a:srgbClr val="00338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992" b="1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</a:t>
            </a:r>
            <a:r>
              <a:rPr kumimoji="0" lang="en-US" sz="992" b="1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 / Internal / Restricted / Highly confidential]</a:t>
            </a:r>
            <a:endParaRPr kumimoji="0" lang="en-GB" sz="992" b="1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Picture 12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3265" y="7144472"/>
            <a:ext cx="1074438" cy="284012"/>
          </a:xfrm>
          <a:prstGeom prst="rect">
            <a:avLst/>
          </a:prstGeom>
        </p:spPr>
      </p:pic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71EF6A14-47A6-495E-8240-B6310829F3A8}"/>
              </a:ext>
            </a:extLst>
          </p:cNvPr>
          <p:cNvSpPr txBox="1"/>
          <p:nvPr userDrawn="1"/>
        </p:nvSpPr>
        <p:spPr>
          <a:xfrm>
            <a:off x="5015379" y="7327840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413907328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09" r:id="rId1"/>
  </p:sldLayoutIdLst>
  <p:hf sldNum="0" hdr="0" dt="0"/>
  <p:txStyles>
    <p:titleStyle>
      <a:lvl1pPr algn="l" defTabSz="1008126" rtl="0" eaLnBrk="1" latinLnBrk="0" hangingPunct="1">
        <a:spcBef>
          <a:spcPct val="0"/>
        </a:spcBef>
        <a:buNone/>
        <a:defRPr sz="3308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None/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196025" indent="-19602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393800" indent="-19777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589824" indent="-19602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4pPr>
      <a:lvl5pPr marL="787598" indent="-19777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6" name="think-cell Folie" r:id="rId9" imgW="360" imgH="360" progId="TCLayout.ActiveDocument.1">
                  <p:embed/>
                </p:oleObj>
              </mc:Choice>
              <mc:Fallback>
                <p:oleObj name="think-cell Folie" r:id="rId9" imgW="360" imgH="360" progId="TCLayout.ActiveDocument.1">
                  <p:embed/>
                  <p:pic>
                    <p:nvPicPr>
                      <p:cNvPr id="3074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/>
          <p:cNvSpPr>
            <a:spLocks noGrp="1"/>
          </p:cNvSpPr>
          <p:nvPr>
            <p:ph type="title"/>
          </p:nvPr>
        </p:nvSpPr>
        <p:spPr bwMode="auto">
          <a:xfrm>
            <a:off x="757449" y="369312"/>
            <a:ext cx="9349299" cy="509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757450" y="1638274"/>
            <a:ext cx="9347443" cy="496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611436" y="7135547"/>
            <a:ext cx="130965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5 March 2021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757449" y="7135547"/>
            <a:ext cx="492122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F2E4720E-BB03-455A-8ED1-6CF75A62BB47}" type="slidenum">
              <a:rPr lang="en-GB" sz="992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3079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308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EBA17988-5049-4EB1-BDFD-EAB00973EC47}"/>
              </a:ext>
            </a:extLst>
          </p:cNvPr>
          <p:cNvSpPr txBox="1"/>
          <p:nvPr userDrawn="1"/>
        </p:nvSpPr>
        <p:spPr>
          <a:xfrm>
            <a:off x="5015379" y="7327840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7"/>
    </p:custDataLst>
    <p:extLst>
      <p:ext uri="{BB962C8B-B14F-4D97-AF65-F5344CB8AC3E}">
        <p14:creationId xmlns:p14="http://schemas.microsoft.com/office/powerpoint/2010/main" val="337528177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62" r:id="rId3"/>
    <p:sldLayoutId id="2147483865" r:id="rId4"/>
  </p:sldLayoutIdLst>
  <p:hf sldNum="0" hdr="0" dt="0"/>
  <p:txStyles>
    <p:titleStyle>
      <a:lvl1pPr algn="l" rtl="0" fontAlgn="base">
        <a:spcBef>
          <a:spcPct val="0"/>
        </a:spcBef>
        <a:spcAft>
          <a:spcPct val="0"/>
        </a:spcAft>
        <a:defRPr sz="3308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5pPr>
      <a:lvl6pPr marL="504063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6pPr>
      <a:lvl7pPr marL="1008126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7pPr>
      <a:lvl8pPr marL="1512189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8pPr>
      <a:lvl9pPr marL="2016252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96025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393800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589824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4pPr>
      <a:lvl5pPr marL="787598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1" hidden="1">
            <a:extLst>
              <a:ext uri="{FF2B5EF4-FFF2-40B4-BE49-F238E27FC236}">
                <a16:creationId xmlns:a16="http://schemas.microsoft.com/office/drawing/2014/main" id="{AF30727A-5F3D-4FBB-806A-9B11B3EFF7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9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4098" name="Object 1" hidden="1">
                        <a:extLst>
                          <a:ext uri="{FF2B5EF4-FFF2-40B4-BE49-F238E27FC236}">
                            <a16:creationId xmlns:a16="http://schemas.microsoft.com/office/drawing/2014/main" id="{AF30727A-5F3D-4FBB-806A-9B11B3EFF7A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9" name="Picture 3" descr="Hintergrund">
            <a:extLst>
              <a:ext uri="{FF2B5EF4-FFF2-40B4-BE49-F238E27FC236}">
                <a16:creationId xmlns:a16="http://schemas.microsoft.com/office/drawing/2014/main" id="{92091211-0AE8-4FDE-927A-E711C0EB42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Image 66" descr="shadow-v2.png">
            <a:extLst>
              <a:ext uri="{FF2B5EF4-FFF2-40B4-BE49-F238E27FC236}">
                <a16:creationId xmlns:a16="http://schemas.microsoft.com/office/drawing/2014/main" id="{5AD96265-F738-4007-B26F-3273681A8A27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1" y="7036176"/>
            <a:ext cx="10357375" cy="22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1" name="Rectangle 6">
            <a:extLst>
              <a:ext uri="{FF2B5EF4-FFF2-40B4-BE49-F238E27FC236}">
                <a16:creationId xmlns:a16="http://schemas.microsoft.com/office/drawing/2014/main" id="{067DEC4D-6CD5-4CD2-8F49-136E35CDB5B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757450" y="369313"/>
            <a:ext cx="9347443" cy="1032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master title style</a:t>
            </a:r>
            <a:endParaRPr lang="en-GB" altLang="fr-FR"/>
          </a:p>
        </p:txBody>
      </p:sp>
      <p:grpSp>
        <p:nvGrpSpPr>
          <p:cNvPr id="4102" name="Group 7">
            <a:extLst>
              <a:ext uri="{FF2B5EF4-FFF2-40B4-BE49-F238E27FC236}">
                <a16:creationId xmlns:a16="http://schemas.microsoft.com/office/drawing/2014/main" id="{4F1CC1DD-CDCD-4BAF-8369-0BFF1922E001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9094960" y="7195453"/>
            <a:ext cx="1009932" cy="260793"/>
            <a:chOff x="1005" y="1644"/>
            <a:chExt cx="3749" cy="1030"/>
          </a:xfrm>
        </p:grpSpPr>
        <p:sp>
          <p:nvSpPr>
            <p:cNvPr id="4106" name="Freeform 8">
              <a:extLst>
                <a:ext uri="{FF2B5EF4-FFF2-40B4-BE49-F238E27FC236}">
                  <a16:creationId xmlns:a16="http://schemas.microsoft.com/office/drawing/2014/main" id="{D74D4E00-EC16-48F6-88B5-D1E58E159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4107" name="Freeform 9">
              <a:extLst>
                <a:ext uri="{FF2B5EF4-FFF2-40B4-BE49-F238E27FC236}">
                  <a16:creationId xmlns:a16="http://schemas.microsoft.com/office/drawing/2014/main" id="{B5D41E8D-F882-463D-8084-E1DA919F05E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47004 w 501"/>
                <a:gd name="T1" fmla="*/ 304971 h 429"/>
                <a:gd name="T2" fmla="*/ 327389 w 501"/>
                <a:gd name="T3" fmla="*/ 279540 h 429"/>
                <a:gd name="T4" fmla="*/ 320135 w 501"/>
                <a:gd name="T5" fmla="*/ 269953 h 429"/>
                <a:gd name="T6" fmla="*/ 278357 w 501"/>
                <a:gd name="T7" fmla="*/ 250226 h 429"/>
                <a:gd name="T8" fmla="*/ 224262 w 501"/>
                <a:gd name="T9" fmla="*/ 304971 h 429"/>
                <a:gd name="T10" fmla="*/ 278357 w 501"/>
                <a:gd name="T11" fmla="*/ 358531 h 429"/>
                <a:gd name="T12" fmla="*/ 320135 w 501"/>
                <a:gd name="T13" fmla="*/ 339146 h 429"/>
                <a:gd name="T14" fmla="*/ 327389 w 501"/>
                <a:gd name="T15" fmla="*/ 329413 h 429"/>
                <a:gd name="T16" fmla="*/ 347004 w 501"/>
                <a:gd name="T17" fmla="*/ 304971 h 429"/>
                <a:gd name="T18" fmla="*/ 156709 w 501"/>
                <a:gd name="T19" fmla="*/ 303730 h 429"/>
                <a:gd name="T20" fmla="*/ 278357 w 501"/>
                <a:gd name="T21" fmla="*/ 182877 h 429"/>
                <a:gd name="T22" fmla="*/ 371280 w 501"/>
                <a:gd name="T23" fmla="*/ 225824 h 429"/>
                <a:gd name="T24" fmla="*/ 371967 w 501"/>
                <a:gd name="T25" fmla="*/ 227878 h 429"/>
                <a:gd name="T26" fmla="*/ 374074 w 501"/>
                <a:gd name="T27" fmla="*/ 227008 h 429"/>
                <a:gd name="T28" fmla="*/ 241431 w 501"/>
                <a:gd name="T29" fmla="*/ 0 h 429"/>
                <a:gd name="T30" fmla="*/ 0 w 501"/>
                <a:gd name="T31" fmla="*/ 417997 h 429"/>
                <a:gd name="T32" fmla="*/ 235705 w 501"/>
                <a:gd name="T33" fmla="*/ 417997 h 429"/>
                <a:gd name="T34" fmla="*/ 236954 w 501"/>
                <a:gd name="T35" fmla="*/ 417125 h 429"/>
                <a:gd name="T36" fmla="*/ 212520 w 501"/>
                <a:gd name="T37" fmla="*/ 406505 h 429"/>
                <a:gd name="T38" fmla="*/ 156709 w 501"/>
                <a:gd name="T39" fmla="*/ 303730 h 429"/>
                <a:gd name="T40" fmla="*/ 479280 w 501"/>
                <a:gd name="T41" fmla="*/ 415868 h 429"/>
                <a:gd name="T42" fmla="*/ 454319 w 501"/>
                <a:gd name="T43" fmla="*/ 409226 h 429"/>
                <a:gd name="T44" fmla="*/ 391176 w 501"/>
                <a:gd name="T45" fmla="*/ 357292 h 429"/>
                <a:gd name="T46" fmla="*/ 367110 w 501"/>
                <a:gd name="T47" fmla="*/ 387844 h 429"/>
                <a:gd name="T48" fmla="*/ 321731 w 501"/>
                <a:gd name="T49" fmla="*/ 417125 h 429"/>
                <a:gd name="T50" fmla="*/ 321731 w 501"/>
                <a:gd name="T51" fmla="*/ 417997 h 429"/>
                <a:gd name="T52" fmla="*/ 484126 w 501"/>
                <a:gd name="T53" fmla="*/ 417997 h 429"/>
                <a:gd name="T54" fmla="*/ 484126 w 501"/>
                <a:gd name="T55" fmla="*/ 417125 h 429"/>
                <a:gd name="T56" fmla="*/ 479280 w 501"/>
                <a:gd name="T57" fmla="*/ 415868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4108" name="Freeform 10">
              <a:extLst>
                <a:ext uri="{FF2B5EF4-FFF2-40B4-BE49-F238E27FC236}">
                  <a16:creationId xmlns:a16="http://schemas.microsoft.com/office/drawing/2014/main" id="{093E5C4D-F6D0-4BB5-831C-25E83C2174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66232 w 937"/>
                <a:gd name="T1" fmla="*/ 131590 h 326"/>
                <a:gd name="T2" fmla="*/ 75706 w 937"/>
                <a:gd name="T3" fmla="*/ 86155 h 326"/>
                <a:gd name="T4" fmla="*/ 121316 w 937"/>
                <a:gd name="T5" fmla="*/ 51231 h 326"/>
                <a:gd name="T6" fmla="*/ 180456 w 937"/>
                <a:gd name="T7" fmla="*/ 96732 h 326"/>
                <a:gd name="T8" fmla="*/ 245941 w 937"/>
                <a:gd name="T9" fmla="*/ 96732 h 326"/>
                <a:gd name="T10" fmla="*/ 124242 w 937"/>
                <a:gd name="T11" fmla="*/ 0 h 326"/>
                <a:gd name="T12" fmla="*/ 11500 w 937"/>
                <a:gd name="T13" fmla="*/ 91002 h 326"/>
                <a:gd name="T14" fmla="*/ 101116 w 937"/>
                <a:gd name="T15" fmla="*/ 177102 h 326"/>
                <a:gd name="T16" fmla="*/ 191271 w 937"/>
                <a:gd name="T17" fmla="*/ 226803 h 326"/>
                <a:gd name="T18" fmla="*/ 131923 w 937"/>
                <a:gd name="T19" fmla="*/ 264427 h 326"/>
                <a:gd name="T20" fmla="*/ 64894 w 937"/>
                <a:gd name="T21" fmla="*/ 208344 h 326"/>
                <a:gd name="T22" fmla="*/ 872 w 937"/>
                <a:gd name="T23" fmla="*/ 208344 h 326"/>
                <a:gd name="T24" fmla="*/ 130350 w 937"/>
                <a:gd name="T25" fmla="*/ 315813 h 326"/>
                <a:gd name="T26" fmla="*/ 255293 w 937"/>
                <a:gd name="T27" fmla="*/ 218926 h 326"/>
                <a:gd name="T28" fmla="*/ 166232 w 937"/>
                <a:gd name="T29" fmla="*/ 131590 h 326"/>
                <a:gd name="T30" fmla="*/ 525571 w 937"/>
                <a:gd name="T31" fmla="*/ 117397 h 326"/>
                <a:gd name="T32" fmla="*/ 525571 w 937"/>
                <a:gd name="T33" fmla="*/ 117397 h 326"/>
                <a:gd name="T34" fmla="*/ 459808 w 937"/>
                <a:gd name="T35" fmla="*/ 84029 h 326"/>
                <a:gd name="T36" fmla="*/ 363550 w 937"/>
                <a:gd name="T37" fmla="*/ 197604 h 326"/>
                <a:gd name="T38" fmla="*/ 461365 w 937"/>
                <a:gd name="T39" fmla="*/ 315001 h 326"/>
                <a:gd name="T40" fmla="*/ 527660 w 937"/>
                <a:gd name="T41" fmla="*/ 280946 h 326"/>
                <a:gd name="T42" fmla="*/ 528385 w 937"/>
                <a:gd name="T43" fmla="*/ 280946 h 326"/>
                <a:gd name="T44" fmla="*/ 528385 w 937"/>
                <a:gd name="T45" fmla="*/ 308898 h 326"/>
                <a:gd name="T46" fmla="*/ 585980 w 937"/>
                <a:gd name="T47" fmla="*/ 308898 h 326"/>
                <a:gd name="T48" fmla="*/ 585980 w 937"/>
                <a:gd name="T49" fmla="*/ 7778 h 326"/>
                <a:gd name="T50" fmla="*/ 525571 w 937"/>
                <a:gd name="T51" fmla="*/ 7778 h 326"/>
                <a:gd name="T52" fmla="*/ 525571 w 937"/>
                <a:gd name="T53" fmla="*/ 117397 h 326"/>
                <a:gd name="T54" fmla="*/ 476166 w 937"/>
                <a:gd name="T55" fmla="*/ 269498 h 326"/>
                <a:gd name="T56" fmla="*/ 423585 w 937"/>
                <a:gd name="T57" fmla="*/ 199657 h 326"/>
                <a:gd name="T58" fmla="*/ 476166 w 937"/>
                <a:gd name="T59" fmla="*/ 130033 h 326"/>
                <a:gd name="T60" fmla="*/ 527660 w 937"/>
                <a:gd name="T61" fmla="*/ 198473 h 326"/>
                <a:gd name="T62" fmla="*/ 476166 w 937"/>
                <a:gd name="T63" fmla="*/ 269498 h 326"/>
                <a:gd name="T64" fmla="*/ 719959 w 937"/>
                <a:gd name="T65" fmla="*/ 84029 h 326"/>
                <a:gd name="T66" fmla="*/ 608207 w 937"/>
                <a:gd name="T67" fmla="*/ 199657 h 326"/>
                <a:gd name="T68" fmla="*/ 719959 w 937"/>
                <a:gd name="T69" fmla="*/ 315001 h 326"/>
                <a:gd name="T70" fmla="*/ 821985 w 937"/>
                <a:gd name="T71" fmla="*/ 241208 h 326"/>
                <a:gd name="T72" fmla="*/ 769364 w 937"/>
                <a:gd name="T73" fmla="*/ 241208 h 326"/>
                <a:gd name="T74" fmla="*/ 722085 w 937"/>
                <a:gd name="T75" fmla="*/ 269498 h 326"/>
                <a:gd name="T76" fmla="*/ 667444 w 937"/>
                <a:gd name="T77" fmla="*/ 214072 h 326"/>
                <a:gd name="T78" fmla="*/ 825787 w 937"/>
                <a:gd name="T79" fmla="*/ 214072 h 326"/>
                <a:gd name="T80" fmla="*/ 719959 w 937"/>
                <a:gd name="T81" fmla="*/ 84029 h 326"/>
                <a:gd name="T82" fmla="*/ 667444 w 937"/>
                <a:gd name="T83" fmla="*/ 176443 h 326"/>
                <a:gd name="T84" fmla="*/ 718061 w 937"/>
                <a:gd name="T85" fmla="*/ 130033 h 326"/>
                <a:gd name="T86" fmla="*/ 765775 w 937"/>
                <a:gd name="T87" fmla="*/ 176443 h 326"/>
                <a:gd name="T88" fmla="*/ 667444 w 937"/>
                <a:gd name="T89" fmla="*/ 176443 h 326"/>
                <a:gd name="T90" fmla="*/ 850313 w 937"/>
                <a:gd name="T91" fmla="*/ 308898 h 326"/>
                <a:gd name="T92" fmla="*/ 910349 w 937"/>
                <a:gd name="T93" fmla="*/ 308898 h 326"/>
                <a:gd name="T94" fmla="*/ 910349 w 937"/>
                <a:gd name="T95" fmla="*/ 7778 h 326"/>
                <a:gd name="T96" fmla="*/ 850313 w 937"/>
                <a:gd name="T97" fmla="*/ 7778 h 326"/>
                <a:gd name="T98" fmla="*/ 850313 w 937"/>
                <a:gd name="T99" fmla="*/ 308898 h 326"/>
                <a:gd name="T100" fmla="*/ 277894 w 937"/>
                <a:gd name="T101" fmla="*/ 308898 h 326"/>
                <a:gd name="T102" fmla="*/ 337979 w 937"/>
                <a:gd name="T103" fmla="*/ 308898 h 326"/>
                <a:gd name="T104" fmla="*/ 337979 w 937"/>
                <a:gd name="T105" fmla="*/ 90260 h 326"/>
                <a:gd name="T106" fmla="*/ 277894 w 937"/>
                <a:gd name="T107" fmla="*/ 90260 h 326"/>
                <a:gd name="T108" fmla="*/ 277894 w 937"/>
                <a:gd name="T109" fmla="*/ 308898 h 326"/>
                <a:gd name="T110" fmla="*/ 277894 w 937"/>
                <a:gd name="T111" fmla="*/ 56987 h 326"/>
                <a:gd name="T112" fmla="*/ 337979 w 937"/>
                <a:gd name="T113" fmla="*/ 56987 h 326"/>
                <a:gd name="T114" fmla="*/ 337979 w 937"/>
                <a:gd name="T115" fmla="*/ 7778 h 326"/>
                <a:gd name="T116" fmla="*/ 277894 w 937"/>
                <a:gd name="T117" fmla="*/ 7778 h 326"/>
                <a:gd name="T118" fmla="*/ 277894 w 937"/>
                <a:gd name="T119" fmla="*/ 56987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</p:grp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DA380D53-9E83-4805-8579-964080C485E8}"/>
              </a:ext>
            </a:extLst>
          </p:cNvPr>
          <p:cNvSpPr txBox="1">
            <a:spLocks/>
          </p:cNvSpPr>
          <p:nvPr userDrawn="1"/>
        </p:nvSpPr>
        <p:spPr>
          <a:xfrm>
            <a:off x="1568738" y="7305721"/>
            <a:ext cx="1590179" cy="15267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Pct val="100000"/>
              <a:defRPr/>
            </a:pPr>
            <a:r>
              <a:rPr lang="de-CH" altLang="fr-FR" sz="992">
                <a:solidFill>
                  <a:srgbClr val="7F7F7F"/>
                </a:solidFill>
              </a:rPr>
              <a:t>Introducing Sidel Services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7F374094-AA21-4978-B117-BA387B250F99}"/>
              </a:ext>
            </a:extLst>
          </p:cNvPr>
          <p:cNvSpPr txBox="1">
            <a:spLocks/>
          </p:cNvSpPr>
          <p:nvPr userDrawn="1"/>
        </p:nvSpPr>
        <p:spPr>
          <a:xfrm>
            <a:off x="761162" y="7305721"/>
            <a:ext cx="492122" cy="15267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Pct val="100000"/>
              <a:defRPr/>
            </a:pPr>
            <a:r>
              <a:rPr lang="de-CH" altLang="fr-FR" sz="992">
                <a:solidFill>
                  <a:srgbClr val="7F7F7F"/>
                </a:solidFill>
              </a:rPr>
              <a:t>Page </a:t>
            </a:r>
            <a:fld id="{7A41D2F9-DED4-4BB3-AD8D-1981CEB5E609}" type="slidenum">
              <a:rPr lang="de-CH" altLang="fr-FR" sz="992" smtClean="0">
                <a:solidFill>
                  <a:srgbClr val="7F7F7F"/>
                </a:solidFill>
              </a:rPr>
              <a:pPr>
                <a:buSzPct val="100000"/>
                <a:defRPr/>
              </a:pPr>
              <a:t>‹#›</a:t>
            </a:fld>
            <a:endParaRPr lang="de-CH" altLang="fr-FR" sz="992">
              <a:solidFill>
                <a:srgbClr val="7F7F7F"/>
              </a:solidFill>
            </a:endParaRPr>
          </a:p>
        </p:txBody>
      </p:sp>
      <p:sp>
        <p:nvSpPr>
          <p:cNvPr id="4105" name="Text Placeholder 3">
            <a:extLst>
              <a:ext uri="{FF2B5EF4-FFF2-40B4-BE49-F238E27FC236}">
                <a16:creationId xmlns:a16="http://schemas.microsoft.com/office/drawing/2014/main" id="{D1A7BE40-1930-4C06-8536-32E6F9CDC6D3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757450" y="1638274"/>
            <a:ext cx="9353012" cy="5250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/>
              <a:t>Click to edit Master text styles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u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490727EB-9A8E-4819-B339-C0D27E5A82BC}"/>
              </a:ext>
            </a:extLst>
          </p:cNvPr>
          <p:cNvSpPr txBox="1"/>
          <p:nvPr userDrawn="1"/>
        </p:nvSpPr>
        <p:spPr>
          <a:xfrm>
            <a:off x="5015379" y="7327840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277298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2" r:id="rId4"/>
    <p:sldLayoutId id="2147483873" r:id="rId5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3308" b="1" noProof="1" dirty="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algn="l" rtl="0" eaLnBrk="0" fontAlgn="base" hangingPunct="0">
        <a:spcBef>
          <a:spcPct val="20000"/>
        </a:spcBef>
        <a:spcAft>
          <a:spcPct val="0"/>
        </a:spcAft>
        <a:defRPr lang="en-US" sz="2205" noProof="1">
          <a:solidFill>
            <a:schemeClr val="tx1"/>
          </a:solidFill>
          <a:latin typeface="+mn-lt"/>
          <a:ea typeface="+mn-ea"/>
          <a:cs typeface="+mn-cs"/>
        </a:defRPr>
      </a:lvl1pPr>
      <a:lvl2pPr marL="201276" indent="-201276" algn="l" rtl="0" eaLnBrk="0" fontAlgn="base" hangingPunct="0">
        <a:spcBef>
          <a:spcPts val="1323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lang="en-US" noProof="1">
          <a:solidFill>
            <a:schemeClr val="tx1"/>
          </a:solidFill>
          <a:latin typeface="+mn-lt"/>
          <a:ea typeface="+mn-ea"/>
          <a:cs typeface="+mn-cs"/>
        </a:defRPr>
      </a:lvl2pPr>
      <a:lvl3pPr marL="393800" indent="-192524" algn="l" rtl="0" eaLnBrk="0" fontAlgn="base" hangingPunct="0">
        <a:spcBef>
          <a:spcPct val="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lang="en-US" sz="1764" noProof="1">
          <a:solidFill>
            <a:schemeClr val="tx1"/>
          </a:solidFill>
          <a:latin typeface="+mn-lt"/>
          <a:ea typeface="+mn-ea"/>
          <a:cs typeface="+mn-cs"/>
        </a:defRPr>
      </a:lvl3pPr>
      <a:lvl4pPr marL="595074" indent="-201276" algn="l" rtl="0" eaLnBrk="0" fontAlgn="base" hangingPunct="0">
        <a:spcBef>
          <a:spcPct val="0"/>
        </a:spcBef>
        <a:spcAft>
          <a:spcPct val="0"/>
        </a:spcAft>
        <a:buFont typeface="Wingdings" panose="05000000000000000000" pitchFamily="2" charset="2"/>
        <a:buChar char="§"/>
        <a:defRPr lang="en-US" sz="1764" noProof="1">
          <a:solidFill>
            <a:schemeClr val="tx1"/>
          </a:solidFill>
          <a:latin typeface="+mn-lt"/>
          <a:ea typeface="+mn-ea"/>
          <a:cs typeface="+mn-cs"/>
        </a:defRPr>
      </a:lvl4pPr>
      <a:lvl5pPr marL="787598" indent="-192524" algn="l" rtl="0" eaLnBrk="0" fontAlgn="base" hangingPunct="0">
        <a:spcBef>
          <a:spcPct val="0"/>
        </a:spcBef>
        <a:spcAft>
          <a:spcPct val="0"/>
        </a:spcAft>
        <a:buFont typeface="Wingdings" panose="05000000000000000000" pitchFamily="2" charset="2"/>
        <a:buChar char="§"/>
        <a:defRPr lang="en-US" sz="1764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rtl="0" eaLnBrk="1" latinLnBrk="0" hangingPunct="1">
        <a:spcBef>
          <a:spcPct val="20000"/>
        </a:spcBef>
        <a:buChar char="•"/>
        <a:defRPr sz="2205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rtl="0" eaLnBrk="1" latinLnBrk="0" hangingPunct="1">
        <a:spcBef>
          <a:spcPct val="20000"/>
        </a:spcBef>
        <a:buChar char="•"/>
        <a:defRPr sz="2205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rtl="0" eaLnBrk="1" latinLnBrk="0" hangingPunct="1">
        <a:spcBef>
          <a:spcPct val="20000"/>
        </a:spcBef>
        <a:buChar char="•"/>
        <a:defRPr sz="2205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rtl="0" eaLnBrk="1" latinLnBrk="0" hangingPunct="1">
        <a:spcBef>
          <a:spcPct val="20000"/>
        </a:spcBef>
        <a:buChar char="•"/>
        <a:defRPr sz="2205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04063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1008126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512189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2016252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520315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3024378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528441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4032504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4" name="think-cell Folie" r:id="rId9" imgW="399" imgH="399" progId="TCLayout.ActiveDocument.1">
                  <p:embed/>
                </p:oleObj>
              </mc:Choice>
              <mc:Fallback>
                <p:oleObj name="think-cell Folie" r:id="rId9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57449" y="369133"/>
            <a:ext cx="9349299" cy="50900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57450" y="1638275"/>
            <a:ext cx="9347443" cy="496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757449" y="7135385"/>
            <a:ext cx="492122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92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92" smtClean="0">
                <a:solidFill>
                  <a:schemeClr val="bg2"/>
                </a:solidFill>
              </a:rPr>
              <a:pPr/>
              <a:t>‹#›</a:t>
            </a:fld>
            <a:endParaRPr lang="en-GB" sz="992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3766" y="7148446"/>
            <a:ext cx="1097117" cy="283296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612017" y="7135385"/>
            <a:ext cx="6442688" cy="15267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1008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92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92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1008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 March 2021</a:t>
            </a:fld>
            <a:r>
              <a:rPr lang="en-GB" sz="992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92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sz="992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92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7B2477DB-A42C-487C-A7DF-494691207D4B}"/>
              </a:ext>
            </a:extLst>
          </p:cNvPr>
          <p:cNvSpPr txBox="1"/>
          <p:nvPr userDrawn="1"/>
        </p:nvSpPr>
        <p:spPr>
          <a:xfrm>
            <a:off x="5015379" y="7327840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7"/>
    </p:custDataLst>
    <p:extLst>
      <p:ext uri="{BB962C8B-B14F-4D97-AF65-F5344CB8AC3E}">
        <p14:creationId xmlns:p14="http://schemas.microsoft.com/office/powerpoint/2010/main" val="33859670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</p:sldLayoutIdLst>
  <p:hf sldNum="0" hdr="0" dt="0"/>
  <p:txStyles>
    <p:titleStyle>
      <a:lvl1pPr algn="l" defTabSz="1008126" rtl="0" eaLnBrk="1" latinLnBrk="0" hangingPunct="1">
        <a:spcBef>
          <a:spcPct val="0"/>
        </a:spcBef>
        <a:buNone/>
        <a:defRPr sz="3308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None/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196025" indent="-19602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393800" indent="-19777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589824" indent="-19602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4pPr>
      <a:lvl5pPr marL="787598" indent="-19777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4.jp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">
            <a:extLst>
              <a:ext uri="{FF2B5EF4-FFF2-40B4-BE49-F238E27FC236}">
                <a16:creationId xmlns:a16="http://schemas.microsoft.com/office/drawing/2014/main" id="{1274A66C-4FB7-4DF4-B968-5A773AB5E405}"/>
              </a:ext>
            </a:extLst>
          </p:cNvPr>
          <p:cNvGrpSpPr>
            <a:grpSpLocks/>
          </p:cNvGrpSpPr>
          <p:nvPr/>
        </p:nvGrpSpPr>
        <p:grpSpPr bwMode="auto">
          <a:xfrm>
            <a:off x="1019978" y="2056208"/>
            <a:ext cx="8556101" cy="4344364"/>
            <a:chOff x="650875" y="1906524"/>
            <a:chExt cx="7991475" cy="4042232"/>
          </a:xfrm>
        </p:grpSpPr>
        <p:sp>
          <p:nvSpPr>
            <p:cNvPr id="22" name="Rechteck 3">
              <a:extLst>
                <a:ext uri="{FF2B5EF4-FFF2-40B4-BE49-F238E27FC236}">
                  <a16:creationId xmlns:a16="http://schemas.microsoft.com/office/drawing/2014/main" id="{15FB16F4-5EDE-4966-AB85-FEE7889BBE8D}"/>
                </a:ext>
              </a:extLst>
            </p:cNvPr>
            <p:cNvSpPr/>
            <p:nvPr/>
          </p:nvSpPr>
          <p:spPr>
            <a:xfrm>
              <a:off x="650875" y="1906524"/>
              <a:ext cx="3889375" cy="393426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2263" tIns="74842" rIns="112263" bIns="74842" anchor="ctr"/>
            <a:lstStyle/>
            <a:p>
              <a:pPr defTabSz="950409" eaLnBrk="1" fontAlgn="auto" hangingPunct="1">
                <a:spcBef>
                  <a:spcPts val="312"/>
                </a:spcBef>
                <a:spcAft>
                  <a:spcPts val="0"/>
                </a:spcAft>
                <a:buClr>
                  <a:srgbClr val="FF6600"/>
                </a:buClr>
                <a:defRPr/>
              </a:pPr>
              <a:r>
                <a:rPr lang="en-GB" sz="1540" dirty="0">
                  <a:solidFill>
                    <a:srgbClr val="FFFFFF"/>
                  </a:solidFill>
                  <a:latin typeface="Arial"/>
                  <a:ea typeface="MS PGothic" pitchFamily="34" charset="-128"/>
                </a:rPr>
                <a:t>VALUE AND BENEFITS</a:t>
              </a:r>
            </a:p>
          </p:txBody>
        </p:sp>
        <p:sp>
          <p:nvSpPr>
            <p:cNvPr id="23" name="Rechteck 4">
              <a:extLst>
                <a:ext uri="{FF2B5EF4-FFF2-40B4-BE49-F238E27FC236}">
                  <a16:creationId xmlns:a16="http://schemas.microsoft.com/office/drawing/2014/main" id="{23700CBF-F528-452A-998A-5104DF3D57C0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2263" tIns="74842" rIns="112263" bIns="74842"/>
            <a:lstStyle/>
            <a:p>
              <a:pPr marL="201276" lvl="1" indent="-201276" eaLnBrk="1" hangingPunct="1">
                <a:spcBef>
                  <a:spcPts val="331"/>
                </a:spcBef>
                <a:spcAft>
                  <a:spcPts val="0"/>
                </a:spcAft>
                <a:buClr>
                  <a:srgbClr val="E64B00"/>
                </a:buClr>
                <a:buSzPct val="100000"/>
                <a:buFont typeface="Wingdings" pitchFamily="2" charset="2"/>
                <a:buChar char="§"/>
                <a:tabLst>
                  <a:tab pos="3279910" algn="l"/>
                  <a:tab pos="3474185" algn="l"/>
                </a:tabLst>
                <a:defRPr/>
              </a:pPr>
              <a:r>
                <a:rPr lang="en-US" altLang="de-DE" sz="1323" b="0" kern="0" noProof="1">
                  <a:solidFill>
                    <a:srgbClr val="000000"/>
                  </a:solidFill>
                </a:rPr>
                <a:t>Filling valve lifetime increased </a:t>
              </a:r>
              <a:r>
                <a:rPr lang="en-US" altLang="de-DE" sz="1323" b="0" kern="0" noProof="1">
                  <a:solidFill>
                    <a:schemeClr val="accent4"/>
                  </a:solidFill>
                </a:rPr>
                <a:t>from 4,000 </a:t>
              </a:r>
              <a:br>
                <a:rPr lang="en-US" altLang="de-DE" sz="1323" b="0" kern="0" noProof="1">
                  <a:solidFill>
                    <a:schemeClr val="accent4"/>
                  </a:solidFill>
                </a:rPr>
              </a:br>
              <a:r>
                <a:rPr lang="en-US" altLang="de-DE" sz="1323" b="0" kern="0" noProof="1">
                  <a:solidFill>
                    <a:schemeClr val="accent4"/>
                  </a:solidFill>
                </a:rPr>
                <a:t>to 6,000 hours </a:t>
              </a:r>
            </a:p>
            <a:p>
              <a:pPr marL="201276" lvl="1" indent="-201276" eaLnBrk="1" hangingPunct="1">
                <a:spcBef>
                  <a:spcPts val="331"/>
                </a:spcBef>
                <a:spcAft>
                  <a:spcPts val="0"/>
                </a:spcAft>
                <a:buClr>
                  <a:srgbClr val="E64B00"/>
                </a:buClr>
                <a:buSzPct val="100000"/>
                <a:buFont typeface="Wingdings" pitchFamily="2" charset="2"/>
                <a:buChar char="§"/>
                <a:tabLst>
                  <a:tab pos="3279910" algn="l"/>
                  <a:tab pos="3474185" algn="l"/>
                </a:tabLst>
                <a:defRPr/>
              </a:pPr>
              <a:r>
                <a:rPr lang="en-US" altLang="de-DE" sz="1323" b="0" kern="0" noProof="1">
                  <a:solidFill>
                    <a:srgbClr val="000000"/>
                  </a:solidFill>
                </a:rPr>
                <a:t>No more product contact</a:t>
              </a:r>
            </a:p>
            <a:p>
              <a:pPr marL="201276" lvl="1" indent="-201276" eaLnBrk="1" hangingPunct="1">
                <a:spcBef>
                  <a:spcPts val="331"/>
                </a:spcBef>
                <a:spcAft>
                  <a:spcPts val="0"/>
                </a:spcAft>
                <a:buClr>
                  <a:srgbClr val="E64B00"/>
                </a:buClr>
                <a:buSzPct val="100000"/>
                <a:buFont typeface="Wingdings" pitchFamily="2" charset="2"/>
                <a:buChar char="§"/>
                <a:tabLst>
                  <a:tab pos="3279910" algn="l"/>
                  <a:tab pos="3474185" algn="l"/>
                </a:tabLst>
                <a:defRPr/>
              </a:pPr>
              <a:r>
                <a:rPr lang="en-US" altLang="de-DE" sz="1323" b="0" kern="0" noProof="1">
                  <a:solidFill>
                    <a:srgbClr val="000000"/>
                  </a:solidFill>
                </a:rPr>
                <a:t>Significant reduction of product loss </a:t>
              </a:r>
            </a:p>
            <a:p>
              <a:pPr marL="201276" lvl="1" indent="-201276" eaLnBrk="1" hangingPunct="1">
                <a:spcBef>
                  <a:spcPts val="331"/>
                </a:spcBef>
                <a:spcAft>
                  <a:spcPts val="0"/>
                </a:spcAft>
                <a:buClr>
                  <a:srgbClr val="E64B00"/>
                </a:buClr>
                <a:buSzPct val="100000"/>
                <a:buFont typeface="Wingdings" pitchFamily="2" charset="2"/>
                <a:buChar char="§"/>
                <a:tabLst>
                  <a:tab pos="3279910" algn="l"/>
                  <a:tab pos="3474185" algn="l"/>
                </a:tabLst>
                <a:defRPr/>
              </a:pPr>
              <a:r>
                <a:rPr lang="en-US" altLang="de-DE" sz="1323" b="0" kern="0" noProof="1">
                  <a:solidFill>
                    <a:srgbClr val="000000"/>
                  </a:solidFill>
                </a:rPr>
                <a:t>Product saving thanks to a better filling reliability</a:t>
              </a:r>
            </a:p>
            <a:p>
              <a:pPr marL="356403" indent="-356403" defTabSz="950409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47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" name="Rechteck 11">
              <a:extLst>
                <a:ext uri="{FF2B5EF4-FFF2-40B4-BE49-F238E27FC236}">
                  <a16:creationId xmlns:a16="http://schemas.microsoft.com/office/drawing/2014/main" id="{47250788-64CD-4170-AFD6-272C4B3B4060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2263" tIns="74842" rIns="112263" bIns="74842" anchor="ctr"/>
            <a:lstStyle/>
            <a:p>
              <a:pPr marL="198001" indent="-198001" defTabSz="950409" eaLnBrk="1" hangingPunct="1">
                <a:spcBef>
                  <a:spcPts val="312"/>
                </a:spcBef>
                <a:spcAft>
                  <a:spcPts val="0"/>
                </a:spcAft>
                <a:buClr>
                  <a:srgbClr val="E64B00"/>
                </a:buClr>
                <a:defRPr/>
              </a:pPr>
              <a:r>
                <a:rPr lang="de-CH" altLang="de-DE" sz="1540" noProof="1">
                  <a:solidFill>
                    <a:srgbClr val="FFFFFF"/>
                  </a:solidFill>
                  <a:latin typeface="Arial"/>
                  <a:cs typeface="Arial" charset="0"/>
                </a:rPr>
                <a:t>DESCRIPTION</a:t>
              </a:r>
              <a:endParaRPr lang="en-GB" altLang="de-DE" sz="1540" dirty="0">
                <a:solidFill>
                  <a:srgbClr val="FFFFFF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25" name="Rechteck 12">
              <a:extLst>
                <a:ext uri="{FF2B5EF4-FFF2-40B4-BE49-F238E27FC236}">
                  <a16:creationId xmlns:a16="http://schemas.microsoft.com/office/drawing/2014/main" id="{1EC43E5A-A8BD-48BB-996F-64A1A58DDF32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2263" tIns="74842" rIns="112263" bIns="74842"/>
            <a:lstStyle/>
            <a:p>
              <a:pPr marL="201276" indent="-201276" eaLnBrk="1" fontAlgn="auto" hangingPunct="1">
                <a:spcBef>
                  <a:spcPts val="331"/>
                </a:spcBef>
                <a:spcAft>
                  <a:spcPts val="0"/>
                </a:spcAft>
                <a:buClr>
                  <a:srgbClr val="E64B00"/>
                </a:buClr>
                <a:buFont typeface="Wingdings" pitchFamily="2" charset="2"/>
                <a:buChar char="§"/>
                <a:defRPr/>
              </a:pPr>
              <a:r>
                <a:rPr lang="en-US" sz="1323" b="0" dirty="0">
                  <a:solidFill>
                    <a:srgbClr val="000000"/>
                  </a:solidFill>
                </a:rPr>
                <a:t>The current filling valve with membrane may attract aromas. The foaming and sugared products may also impact on filling level reliability </a:t>
              </a:r>
            </a:p>
            <a:p>
              <a:pPr marL="201276" indent="-201276" eaLnBrk="1" fontAlgn="auto" hangingPunct="1">
                <a:spcBef>
                  <a:spcPts val="331"/>
                </a:spcBef>
                <a:spcAft>
                  <a:spcPts val="0"/>
                </a:spcAft>
                <a:buClr>
                  <a:srgbClr val="E64B00"/>
                </a:buClr>
                <a:buFont typeface="Wingdings" pitchFamily="2" charset="2"/>
                <a:buChar char="§"/>
                <a:defRPr/>
              </a:pPr>
              <a:r>
                <a:rPr lang="en-US" sz="1323" b="0" dirty="0">
                  <a:solidFill>
                    <a:srgbClr val="000000"/>
                  </a:solidFill>
                </a:rPr>
                <a:t>The new solution proposes:</a:t>
              </a:r>
            </a:p>
            <a:p>
              <a:pPr marL="201276" indent="-201276" eaLnBrk="1" fontAlgn="auto" hangingPunct="1">
                <a:spcBef>
                  <a:spcPts val="331"/>
                </a:spcBef>
                <a:spcAft>
                  <a:spcPts val="0"/>
                </a:spcAft>
                <a:buClr>
                  <a:srgbClr val="E64B00"/>
                </a:buClr>
                <a:buFont typeface="Wingdings" pitchFamily="2" charset="2"/>
                <a:buChar char="§"/>
                <a:defRPr/>
              </a:pPr>
              <a:r>
                <a:rPr lang="en-US" sz="1323" b="0" dirty="0">
                  <a:solidFill>
                    <a:srgbClr val="000000"/>
                  </a:solidFill>
                </a:rPr>
                <a:t>Filling valves with external spring </a:t>
              </a:r>
            </a:p>
            <a:p>
              <a:pPr marL="201276" indent="-201276" eaLnBrk="1" fontAlgn="auto" hangingPunct="1">
                <a:spcBef>
                  <a:spcPts val="331"/>
                </a:spcBef>
                <a:spcAft>
                  <a:spcPts val="0"/>
                </a:spcAft>
                <a:buClr>
                  <a:srgbClr val="E64B00"/>
                </a:buClr>
                <a:buFont typeface="Wingdings" pitchFamily="2" charset="2"/>
                <a:buChar char="§"/>
                <a:defRPr/>
              </a:pPr>
              <a:r>
                <a:rPr lang="en-US" sz="1323" b="0" dirty="0">
                  <a:solidFill>
                    <a:srgbClr val="000000"/>
                  </a:solidFill>
                </a:rPr>
                <a:t>Vent tube with gasket (1)</a:t>
              </a:r>
            </a:p>
            <a:p>
              <a:pPr marL="201276" indent="-201276" eaLnBrk="1" fontAlgn="auto" hangingPunct="1">
                <a:spcBef>
                  <a:spcPts val="331"/>
                </a:spcBef>
                <a:spcAft>
                  <a:spcPts val="0"/>
                </a:spcAft>
                <a:buClr>
                  <a:srgbClr val="E64B00"/>
                </a:buClr>
                <a:buFont typeface="Wingdings" pitchFamily="2" charset="2"/>
                <a:buChar char="§"/>
                <a:defRPr/>
              </a:pPr>
              <a:r>
                <a:rPr lang="en-US" sz="1323" b="0" dirty="0">
                  <a:solidFill>
                    <a:srgbClr val="000000"/>
                  </a:solidFill>
                </a:rPr>
                <a:t>Manual or semi-automatic dummy bottle  </a:t>
              </a:r>
            </a:p>
            <a:p>
              <a:pPr marL="201276" indent="-201276" eaLnBrk="1" fontAlgn="auto" hangingPunct="1">
                <a:spcBef>
                  <a:spcPts val="331"/>
                </a:spcBef>
                <a:spcAft>
                  <a:spcPts val="0"/>
                </a:spcAft>
                <a:buClr>
                  <a:srgbClr val="E64B00"/>
                </a:buClr>
                <a:buFont typeface="Wingdings" pitchFamily="2" charset="2"/>
                <a:buChar char="§"/>
                <a:defRPr/>
              </a:pPr>
              <a:r>
                <a:rPr lang="en-US" sz="1323" b="0" dirty="0">
                  <a:solidFill>
                    <a:srgbClr val="000000"/>
                  </a:solidFill>
                </a:rPr>
                <a:t>New main cam for trolleys </a:t>
              </a:r>
            </a:p>
            <a:p>
              <a:pPr marL="356403" indent="-356403" defTabSz="950409" eaLnBrk="1" hangingPunct="1"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zh-CN" sz="1247" dirty="0">
                <a:solidFill>
                  <a:srgbClr val="000000"/>
                </a:solidFill>
                <a:latin typeface="Arial"/>
                <a:ea typeface="宋体" charset="-122"/>
              </a:endParaRPr>
            </a:p>
          </p:txBody>
        </p:sp>
      </p:grpSp>
      <p:graphicFrame>
        <p:nvGraphicFramePr>
          <p:cNvPr id="41986" name="Objekt 5" hidden="1">
            <a:extLst>
              <a:ext uri="{FF2B5EF4-FFF2-40B4-BE49-F238E27FC236}">
                <a16:creationId xmlns:a16="http://schemas.microsoft.com/office/drawing/2014/main" id="{87803A09-EC8D-46C7-82D1-FF4013C30C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07610" y="1751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1986" name="Objekt 5" hidden="1">
                        <a:extLst>
                          <a:ext uri="{FF2B5EF4-FFF2-40B4-BE49-F238E27FC236}">
                            <a16:creationId xmlns:a16="http://schemas.microsoft.com/office/drawing/2014/main" id="{87803A09-EC8D-46C7-82D1-FF4013C30CD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7610" y="1751"/>
                        <a:ext cx="1750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004" name="Title 1">
            <a:extLst>
              <a:ext uri="{FF2B5EF4-FFF2-40B4-BE49-F238E27FC236}">
                <a16:creationId xmlns:a16="http://schemas.microsoft.com/office/drawing/2014/main" id="{E69C2B2C-F6A6-4859-BBE6-882E3D900B8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019978" y="369312"/>
            <a:ext cx="8812722" cy="1018099"/>
          </a:xfrm>
        </p:spPr>
        <p:txBody>
          <a:bodyPr/>
          <a:lstStyle/>
          <a:p>
            <a:pPr eaLnBrk="1" hangingPunct="1"/>
            <a:r>
              <a:rPr lang="en-US" altLang="fr-FR" dirty="0">
                <a:solidFill>
                  <a:srgbClr val="E64B00"/>
                </a:solidFill>
              </a:rPr>
              <a:t>Filling process improvement and lower maintenance cost</a:t>
            </a:r>
            <a:endParaRPr lang="en-GB" altLang="en-US" dirty="0">
              <a:solidFill>
                <a:srgbClr val="E64B00"/>
              </a:solidFill>
            </a:endParaRPr>
          </a:p>
        </p:txBody>
      </p:sp>
      <p:sp>
        <p:nvSpPr>
          <p:cNvPr id="42005" name="Text Placeholder 2">
            <a:extLst>
              <a:ext uri="{FF2B5EF4-FFF2-40B4-BE49-F238E27FC236}">
                <a16:creationId xmlns:a16="http://schemas.microsoft.com/office/drawing/2014/main" id="{12180955-36FA-4C4F-AFE6-49AD30113C69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1019978" y="1736773"/>
            <a:ext cx="8817972" cy="276999"/>
          </a:xfrm>
        </p:spPr>
        <p:txBody>
          <a:bodyPr>
            <a:spAutoFit/>
          </a:bodyPr>
          <a:lstStyle/>
          <a:p>
            <a:pPr eaLnBrk="1" hangingPunct="1"/>
            <a:r>
              <a:rPr lang="nn-NO" altLang="en-US" dirty="0"/>
              <a:t>New valve Europa WM – RFE 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F88D33C-9354-47D8-BD1C-B52B564C9EAD}"/>
              </a:ext>
            </a:extLst>
          </p:cNvPr>
          <p:cNvSpPr txBox="1">
            <a:spLocks/>
          </p:cNvSpPr>
          <p:nvPr/>
        </p:nvSpPr>
        <p:spPr>
          <a:xfrm>
            <a:off x="1013421" y="6479965"/>
            <a:ext cx="8796969" cy="46147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pPr fontAlgn="auto">
              <a:spcAft>
                <a:spcPts val="0"/>
              </a:spcAft>
              <a:defRPr/>
            </a:pPr>
            <a:r>
              <a:rPr lang="en-US" sz="882" b="0" dirty="0">
                <a:solidFill>
                  <a:srgbClr val="000000"/>
                </a:solidFill>
                <a:latin typeface="Arial"/>
              </a:rPr>
              <a:t>Value: Product Quality, Efficiency</a:t>
            </a:r>
          </a:p>
          <a:p>
            <a:pPr fontAlgn="auto">
              <a:spcAft>
                <a:spcPts val="0"/>
              </a:spcAft>
              <a:defRPr/>
            </a:pPr>
            <a:r>
              <a:rPr lang="en-US" sz="882" b="0" dirty="0">
                <a:solidFill>
                  <a:srgbClr val="000000"/>
                </a:solidFill>
                <a:latin typeface="Arial"/>
              </a:rPr>
              <a:t>Equipment: Fillers (Europa WM – RFE)</a:t>
            </a:r>
          </a:p>
          <a:p>
            <a:pPr fontAlgn="auto">
              <a:spcAft>
                <a:spcPts val="0"/>
              </a:spcAft>
              <a:defRPr/>
            </a:pPr>
            <a:r>
              <a:rPr lang="en-US" sz="882" b="0" dirty="0">
                <a:solidFill>
                  <a:srgbClr val="000000"/>
                </a:solidFill>
                <a:latin typeface="Arial"/>
              </a:rPr>
              <a:t>Catalogue code: SF019</a:t>
            </a:r>
          </a:p>
        </p:txBody>
      </p:sp>
      <p:sp>
        <p:nvSpPr>
          <p:cNvPr id="5" name="BainBulletsConfiguration" hidden="1">
            <a:extLst>
              <a:ext uri="{FF2B5EF4-FFF2-40B4-BE49-F238E27FC236}">
                <a16:creationId xmlns:a16="http://schemas.microsoft.com/office/drawing/2014/main" id="{EBCAB2E9-D44E-4DD9-8FC6-1311ADF5C4FA}"/>
              </a:ext>
            </a:extLst>
          </p:cNvPr>
          <p:cNvSpPr txBox="1"/>
          <p:nvPr/>
        </p:nvSpPr>
        <p:spPr>
          <a:xfrm>
            <a:off x="319861" y="14002"/>
            <a:ext cx="65" cy="1692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defRPr/>
            </a:pPr>
            <a:endParaRPr lang="en-US" sz="110" dirty="0" err="1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9ED7AE3-0081-42AA-9ED6-884E8BA0EBB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4876" y="4481210"/>
            <a:ext cx="714375" cy="134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061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7.jpeg"/></Relationships>
</file>

<file path=ppt/theme/theme1.xml><?xml version="1.0" encoding="utf-8"?>
<a:theme xmlns:a="http://schemas.openxmlformats.org/drawingml/2006/main" name="1_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2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3.xml><?xml version="1.0" encoding="utf-8"?>
<a:theme xmlns:a="http://schemas.openxmlformats.org/drawingml/2006/main" name="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5</TotalTime>
  <Pages>1</Pages>
  <Words>91</Words>
  <Application>Microsoft Office PowerPoint</Application>
  <PresentationFormat>Custom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12" baseType="lpstr">
      <vt:lpstr>MS PGothic</vt:lpstr>
      <vt:lpstr>宋体</vt:lpstr>
      <vt:lpstr>Arial</vt:lpstr>
      <vt:lpstr>Book Antiqua</vt:lpstr>
      <vt:lpstr>Wingdings</vt:lpstr>
      <vt:lpstr>1_LIOMT</vt:lpstr>
      <vt:lpstr>2_NewSidel_Template_4x3_with add layouts</vt:lpstr>
      <vt:lpstr>3_Sidel Template 2013</vt:lpstr>
      <vt:lpstr>LIOMT</vt:lpstr>
      <vt:lpstr>think-cell Folie</vt:lpstr>
      <vt:lpstr>think-cell Slide</vt:lpstr>
      <vt:lpstr>Filling process improvement and lower maintenance cost</vt:lpstr>
    </vt:vector>
  </TitlesOfParts>
  <Manager>Dominique Martin</Manager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le Switch System</dc:title>
  <dc:subject>Selling points</dc:subject>
  <dc:creator>Mathieu Druon</dc:creator>
  <cp:keywords/>
  <dc:description/>
  <cp:lastModifiedBy>Sorega, Dan</cp:lastModifiedBy>
  <cp:revision>558</cp:revision>
  <cp:lastPrinted>2016-08-02T08:13:06Z</cp:lastPrinted>
  <dcterms:created xsi:type="dcterms:W3CDTF">2009-07-10T13:59:45Z</dcterms:created>
  <dcterms:modified xsi:type="dcterms:W3CDTF">2021-03-05T16:08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Ref">
    <vt:lpwstr>https://api.informationprotection.azure.com/api/2390cbd1-e663-4321-bc93-ba298637ce52</vt:lpwstr>
  </property>
  <property fmtid="{D5CDD505-2E9C-101B-9397-08002B2CF9AE}" pid="5" name="MSIP_Label_94480757-a570-4f64-84e7-c5b3ffe9d573_Owner">
    <vt:lpwstr>107200@sidel.com</vt:lpwstr>
  </property>
  <property fmtid="{D5CDD505-2E9C-101B-9397-08002B2CF9AE}" pid="6" name="MSIP_Label_94480757-a570-4f64-84e7-c5b3ffe9d573_SetDate">
    <vt:lpwstr>2019-04-08T13:41:43.0452360+02:00</vt:lpwstr>
  </property>
  <property fmtid="{D5CDD505-2E9C-101B-9397-08002B2CF9AE}" pid="7" name="MSIP_Label_94480757-a570-4f64-84e7-c5b3ffe9d573_Name">
    <vt:lpwstr>General</vt:lpwstr>
  </property>
  <property fmtid="{D5CDD505-2E9C-101B-9397-08002B2CF9AE}" pid="8" name="MSIP_Label_94480757-a570-4f64-84e7-c5b3ffe9d573_Application">
    <vt:lpwstr>Microsoft Azure Information Protection</vt:lpwstr>
  </property>
  <property fmtid="{D5CDD505-2E9C-101B-9397-08002B2CF9AE}" pid="9" name="MSIP_Label_94480757-a570-4f64-84e7-c5b3ffe9d573_Extended_MSFT_Method">
    <vt:lpwstr>Automatic</vt:lpwstr>
  </property>
  <property fmtid="{D5CDD505-2E9C-101B-9397-08002B2CF9AE}" pid="10" name="Sensitivity">
    <vt:lpwstr>General</vt:lpwstr>
  </property>
</Properties>
</file>